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6858000" cy="9906000" type="A4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0" d="100"/>
          <a:sy n="70" d="100"/>
        </p:scale>
        <p:origin x="-3708" y="-114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3077283"/>
            <a:ext cx="5829300" cy="2123369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28700" y="5613400"/>
            <a:ext cx="4800600" cy="25315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01769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056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5594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7587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390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7115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994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0534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88184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10938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923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98441696"/>
              </p:ext>
            </p:extLst>
          </p:nvPr>
        </p:nvGraphicFramePr>
        <p:xfrm>
          <a:off x="1589" y="1721"/>
          <a:ext cx="1587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721"/>
                        <a:ext cx="1587" cy="1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42900" y="2311402"/>
            <a:ext cx="6172200" cy="6537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42900" y="9181396"/>
            <a:ext cx="16002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6CF66B-8296-464C-B59C-7D162CCC12F1}" type="datetimeFigureOut">
              <a:rPr lang="de-DE" smtClean="0"/>
              <a:t>29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343150" y="9181396"/>
            <a:ext cx="21717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914900" y="9181396"/>
            <a:ext cx="16002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52533E-DACE-46DF-851C-A077FDDD833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039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36686"/>
              </p:ext>
            </p:extLst>
          </p:nvPr>
        </p:nvGraphicFramePr>
        <p:xfrm>
          <a:off x="1589" y="1721"/>
          <a:ext cx="1587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721"/>
                        <a:ext cx="1587" cy="1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96" y="128464"/>
            <a:ext cx="4897128" cy="2014922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22651" y="2000672"/>
            <a:ext cx="6858000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prstTxWarp prst="textChevronInverted">
              <a:avLst>
                <a:gd name="adj" fmla="val 66691"/>
              </a:avLst>
            </a:prstTxWarp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5400" b="1" cap="all" spc="0" dirty="0" smtClean="0">
                <a:ln w="0">
                  <a:solidFill>
                    <a:schemeClr val="accent2"/>
                  </a:solidFill>
                </a:ln>
                <a:solidFill>
                  <a:srgbClr val="92D050"/>
                </a:solidFill>
                <a:effectLst>
                  <a:reflection blurRad="12700" stA="50000" endPos="50000" dist="5000" dir="5400000" sy="-100000" rotWithShape="0"/>
                </a:effectLst>
              </a:rPr>
              <a:t>LG- Jugendzeltlager 2015</a:t>
            </a:r>
            <a:endParaRPr lang="de-DE" sz="5400" b="1" cap="all" spc="0" dirty="0">
              <a:ln w="0">
                <a:solidFill>
                  <a:schemeClr val="accent2"/>
                </a:solidFill>
              </a:ln>
              <a:solidFill>
                <a:srgbClr val="92D050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33942" y="3224808"/>
            <a:ext cx="1248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7030A0"/>
                </a:solidFill>
              </a:rPr>
              <a:t>vom 18.07.</a:t>
            </a:r>
            <a:endParaRPr lang="de-DE" dirty="0">
              <a:solidFill>
                <a:srgbClr val="7030A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844300" y="3228768"/>
            <a:ext cx="1085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7030A0"/>
                </a:solidFill>
              </a:rPr>
              <a:t>bis 25.07.</a:t>
            </a:r>
            <a:endParaRPr lang="de-DE" dirty="0">
              <a:solidFill>
                <a:srgbClr val="7030A0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33942" y="4368004"/>
            <a:ext cx="643541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rgbClr val="7030A0"/>
                </a:solidFill>
              </a:rPr>
              <a:t>Sportplatz in Rehagen</a:t>
            </a:r>
          </a:p>
          <a:p>
            <a:pPr algn="ctr"/>
            <a:r>
              <a:rPr lang="de-DE" dirty="0" smtClean="0">
                <a:solidFill>
                  <a:srgbClr val="7030A0"/>
                </a:solidFill>
              </a:rPr>
              <a:t>Die Straße nach Rehagen 150 m vor dem Ort </a:t>
            </a:r>
          </a:p>
          <a:p>
            <a:pPr algn="ctr"/>
            <a:r>
              <a:rPr lang="de-DE" dirty="0" smtClean="0">
                <a:solidFill>
                  <a:srgbClr val="7030A0"/>
                </a:solidFill>
              </a:rPr>
              <a:t>(aus Zossen kommend ist linker Hand Schild „Sportplatz“</a:t>
            </a:r>
          </a:p>
          <a:p>
            <a:pPr algn="ctr"/>
            <a:r>
              <a:rPr lang="de-DE" dirty="0" smtClean="0">
                <a:solidFill>
                  <a:srgbClr val="7030A0"/>
                </a:solidFill>
              </a:rPr>
              <a:t>15838 Am </a:t>
            </a:r>
            <a:r>
              <a:rPr lang="de-DE" dirty="0" err="1" smtClean="0">
                <a:solidFill>
                  <a:srgbClr val="7030A0"/>
                </a:solidFill>
              </a:rPr>
              <a:t>Mellensee</a:t>
            </a:r>
            <a:r>
              <a:rPr lang="de-DE" dirty="0" smtClean="0">
                <a:solidFill>
                  <a:srgbClr val="7030A0"/>
                </a:solidFill>
              </a:rPr>
              <a:t> </a:t>
            </a:r>
            <a:r>
              <a:rPr lang="de-DE" dirty="0" err="1" smtClean="0">
                <a:solidFill>
                  <a:srgbClr val="7030A0"/>
                </a:solidFill>
              </a:rPr>
              <a:t>OT</a:t>
            </a:r>
            <a:r>
              <a:rPr lang="de-DE" dirty="0" smtClean="0">
                <a:solidFill>
                  <a:srgbClr val="7030A0"/>
                </a:solidFill>
              </a:rPr>
              <a:t> Rehagen</a:t>
            </a:r>
          </a:p>
          <a:p>
            <a:pPr algn="ctr"/>
            <a:endParaRPr lang="de-DE" dirty="0" smtClean="0">
              <a:solidFill>
                <a:srgbClr val="7030A0"/>
              </a:solidFill>
            </a:endParaRPr>
          </a:p>
          <a:p>
            <a:r>
              <a:rPr lang="de-DE" dirty="0" smtClean="0">
                <a:solidFill>
                  <a:srgbClr val="7030A0"/>
                </a:solidFill>
              </a:rPr>
              <a:t>Anmeldung bis: </a:t>
            </a:r>
            <a:r>
              <a:rPr lang="de-DE" b="1" i="1" dirty="0" smtClean="0">
                <a:solidFill>
                  <a:schemeClr val="accent2"/>
                </a:solidFill>
              </a:rPr>
              <a:t>31.05.2015</a:t>
            </a:r>
            <a:r>
              <a:rPr lang="de-DE" dirty="0" smtClean="0">
                <a:solidFill>
                  <a:srgbClr val="7030A0"/>
                </a:solidFill>
              </a:rPr>
              <a:t> an LG Jugendwartin</a:t>
            </a:r>
          </a:p>
          <a:p>
            <a:endParaRPr lang="de-DE" dirty="0">
              <a:solidFill>
                <a:srgbClr val="7030A0"/>
              </a:solidFill>
            </a:endParaRPr>
          </a:p>
          <a:p>
            <a:r>
              <a:rPr lang="de-DE" dirty="0" smtClean="0">
                <a:solidFill>
                  <a:srgbClr val="7030A0"/>
                </a:solidFill>
              </a:rPr>
              <a:t>Anreise: 18.07. ab 9.30 Uhr</a:t>
            </a:r>
          </a:p>
          <a:p>
            <a:r>
              <a:rPr lang="de-DE" dirty="0" smtClean="0">
                <a:solidFill>
                  <a:srgbClr val="7030A0"/>
                </a:solidFill>
              </a:rPr>
              <a:t>Abreise: 25.07. ab 9 Uhr</a:t>
            </a:r>
          </a:p>
          <a:p>
            <a:r>
              <a:rPr lang="de-DE" dirty="0" smtClean="0">
                <a:solidFill>
                  <a:srgbClr val="7030A0"/>
                </a:solidFill>
              </a:rPr>
              <a:t>Kosten Jugendliche SV: 100.-€</a:t>
            </a:r>
          </a:p>
          <a:p>
            <a:r>
              <a:rPr lang="de-DE" dirty="0" smtClean="0">
                <a:solidFill>
                  <a:srgbClr val="7030A0"/>
                </a:solidFill>
              </a:rPr>
              <a:t>  Jugendliche nicht SV </a:t>
            </a:r>
            <a:r>
              <a:rPr lang="de-DE" smtClean="0">
                <a:solidFill>
                  <a:srgbClr val="7030A0"/>
                </a:solidFill>
              </a:rPr>
              <a:t>: 130</a:t>
            </a:r>
            <a:r>
              <a:rPr lang="de-DE" dirty="0" smtClean="0">
                <a:solidFill>
                  <a:srgbClr val="7030A0"/>
                </a:solidFill>
              </a:rPr>
              <a:t>.-€</a:t>
            </a:r>
            <a:endParaRPr lang="de-DE" dirty="0">
              <a:solidFill>
                <a:srgbClr val="7030A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573016" y="6249144"/>
            <a:ext cx="3096344" cy="1200329"/>
          </a:xfrm>
          <a:prstGeom prst="rect">
            <a:avLst/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 smtClean="0"/>
              <a:t>Aktivitäten: Täglicher Hundesport, Spiel und Spaß mit und ohne Hund, Grachtenbootsfahrt, u.v.m.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2" y="7660089"/>
            <a:ext cx="2570888" cy="1928166"/>
          </a:xfrm>
          <a:prstGeom prst="trapezoid">
            <a:avLst>
              <a:gd name="adj" fmla="val 15091"/>
            </a:avLst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3863" y="7921699"/>
            <a:ext cx="1998306" cy="1498730"/>
          </a:xfrm>
          <a:prstGeom prst="cloud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136" y="8158624"/>
            <a:ext cx="2204864" cy="1653648"/>
          </a:xfrm>
          <a:prstGeom prst="flowChartPunchedTape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2335188" y="7398479"/>
            <a:ext cx="342038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de-DE" sz="2800" b="1" cap="none" spc="0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Impressionen 2013</a:t>
            </a:r>
            <a:endParaRPr lang="de-DE" sz="2800" b="1" cap="none" spc="0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33440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2</Words>
  <Application>Microsoft Office PowerPoint</Application>
  <PresentationFormat>A4-Papier (210x297 mm)</PresentationFormat>
  <Paragraphs>16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Larissa</vt:lpstr>
      <vt:lpstr>think-cell Folie</vt:lpstr>
      <vt:lpstr>PowerPoint-Präsentation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bine Gummelt</dc:creator>
  <cp:lastModifiedBy>Sabine Gummelt</cp:lastModifiedBy>
  <cp:revision>5</cp:revision>
  <dcterms:created xsi:type="dcterms:W3CDTF">2015-01-29T08:48:34Z</dcterms:created>
  <dcterms:modified xsi:type="dcterms:W3CDTF">2015-01-29T13:54:48Z</dcterms:modified>
</cp:coreProperties>
</file>